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70" r:id="rId2"/>
    <p:sldId id="272" r:id="rId3"/>
    <p:sldId id="273" r:id="rId4"/>
    <p:sldId id="274" r:id="rId5"/>
    <p:sldId id="276" r:id="rId6"/>
    <p:sldId id="277" r:id="rId7"/>
    <p:sldId id="278" r:id="rId8"/>
    <p:sldId id="275" r:id="rId9"/>
    <p:sldId id="279" r:id="rId10"/>
    <p:sldId id="280" r:id="rId11"/>
    <p:sldId id="281" r:id="rId12"/>
    <p:sldId id="286" r:id="rId13"/>
    <p:sldId id="287" r:id="rId14"/>
    <p:sldId id="288" r:id="rId15"/>
    <p:sldId id="289" r:id="rId16"/>
    <p:sldId id="290" r:id="rId17"/>
    <p:sldId id="291" r:id="rId18"/>
    <p:sldId id="292" r:id="rId19"/>
    <p:sldId id="293" r:id="rId20"/>
    <p:sldId id="285" r:id="rId21"/>
    <p:sldId id="282" r:id="rId22"/>
    <p:sldId id="258" r:id="rId23"/>
  </p:sldIdLst>
  <p:sldSz cx="9144000" cy="6858000" type="screen4x3"/>
  <p:notesSz cx="6985000" cy="9283700"/>
  <p:custDataLst>
    <p:tags r:id="rId26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>
          <p15:clr>
            <a:srgbClr val="A4A3A4"/>
          </p15:clr>
        </p15:guide>
        <p15:guide id="2" pos="22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7C92"/>
    <a:srgbClr val="574E72"/>
    <a:srgbClr val="3FA0D4"/>
    <a:srgbClr val="DABE86"/>
    <a:srgbClr val="F0E5CF"/>
    <a:srgbClr val="E8D8B5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531" autoAdjust="0"/>
  </p:normalViewPr>
  <p:slideViewPr>
    <p:cSldViewPr>
      <p:cViewPr>
        <p:scale>
          <a:sx n="61" d="100"/>
          <a:sy n="61" d="100"/>
        </p:scale>
        <p:origin x="2102" y="66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31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-3246" y="-90"/>
      </p:cViewPr>
      <p:guideLst>
        <p:guide orient="horz" pos="2924"/>
        <p:guide pos="22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95605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3FDC46-102A-466C-AE8D-31180465617D}" type="datetimeFigureOut">
              <a:rPr lang="en-US" smtClean="0"/>
              <a:t>6/20/2016</a:t>
            </a:fld>
            <a:endParaRPr 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95605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7E9146-2619-4111-90A2-78C801A07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11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95655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r">
              <a:defRPr sz="1200"/>
            </a:lvl1pPr>
          </a:lstStyle>
          <a:p>
            <a:fld id="{21BA8A37-FD1C-4595-A154-124D751F7403}" type="datetimeFigureOut">
              <a:rPr lang="en-GB" smtClean="0"/>
              <a:t>20/06/2016</a:t>
            </a:fld>
            <a:endParaRPr lang="en-GB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69988" y="695325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3" tIns="46116" rIns="92233" bIns="46116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98501" y="4409760"/>
            <a:ext cx="5588000" cy="4177665"/>
          </a:xfrm>
          <a:prstGeom prst="rect">
            <a:avLst/>
          </a:prstGeom>
        </p:spPr>
        <p:txBody>
          <a:bodyPr vert="horz" lIns="92233" tIns="46116" rIns="92233" bIns="46116" rtlCol="0"/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95655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r">
              <a:defRPr sz="1200"/>
            </a:lvl1pPr>
          </a:lstStyle>
          <a:p>
            <a:fld id="{CAD83EA7-6A8F-4EA2-A5B5-01282DE1CE0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4591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35285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55018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95123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34247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89924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68039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19505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82917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0641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5199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32021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972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42186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56646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5804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92656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87108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6948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96317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9138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790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0" y="540000"/>
            <a:ext cx="9144000" cy="59852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0" y="5445224"/>
            <a:ext cx="9144000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he title of the </a:t>
            </a:r>
            <a:r>
              <a:rPr lang="en-GB" noProof="0" dirty="0" err="1" smtClean="0"/>
              <a:t>Frontpage</a:t>
            </a:r>
            <a:endParaRPr lang="en-GB" noProof="0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11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40000"/>
            <a:ext cx="9144000" cy="4905224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 Bring the picture to the background.</a:t>
            </a:r>
            <a:r>
              <a:rPr lang="nl-NL" dirty="0" smtClean="0"/>
              <a:t>  </a:t>
            </a:r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0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0_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5024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040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6408711" y="1295776"/>
            <a:ext cx="2411761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3861048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6408712" y="3905721"/>
            <a:ext cx="2339752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8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Rechthoek 2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9040"/>
            <a:ext cx="5748962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3861048"/>
            <a:ext cx="576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081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3 x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49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81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noProof="0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27585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350132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328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idx="12" hasCustomPrompt="1"/>
          </p:nvPr>
        </p:nvSpPr>
        <p:spPr>
          <a:xfrm>
            <a:off x="6237864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3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816" y="3501008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275856" y="3501328"/>
            <a:ext cx="252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184" y="3512391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36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3 x text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685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310557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310558" y="5408930"/>
            <a:ext cx="25200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7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6237864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1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Rechthoek 21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310557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464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907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721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382197" y="1268760"/>
            <a:ext cx="8366268" cy="511256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  <p:sp>
        <p:nvSpPr>
          <p:cNvPr id="11" name="Tijdelijke aanduiding voor tekst 3"/>
          <p:cNvSpPr>
            <a:spLocks noGrp="1"/>
          </p:cNvSpPr>
          <p:nvPr>
            <p:ph type="body" sz="quarter" idx="13" hasCustomPrompt="1"/>
          </p:nvPr>
        </p:nvSpPr>
        <p:spPr>
          <a:xfrm>
            <a:off x="755576" y="6597352"/>
            <a:ext cx="6192838" cy="21602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Optional – add presentation nam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7318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797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hoek 14"/>
          <p:cNvSpPr>
            <a:spLocks/>
          </p:cNvSpPr>
          <p:nvPr userDrawn="1"/>
        </p:nvSpPr>
        <p:spPr>
          <a:xfrm>
            <a:off x="0" y="540000"/>
            <a:ext cx="9144000" cy="5985344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67544" y="2708920"/>
            <a:ext cx="3960440" cy="2232248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880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4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/>
          <p:cNvSpPr/>
          <p:nvPr userDrawn="1"/>
        </p:nvSpPr>
        <p:spPr>
          <a:xfrm>
            <a:off x="-9923" y="540000"/>
            <a:ext cx="9153923" cy="59932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-9923" y="540000"/>
            <a:ext cx="2893768" cy="5993208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Rechthoek 1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chemeClr val="tx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83683A"/>
              </a:solidFill>
            </a:endParaRP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2883844" y="540000"/>
            <a:ext cx="6260155" cy="5993208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 algn="l"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EXT</a:t>
            </a:r>
            <a:endParaRPr lang="en-GB" dirty="0"/>
          </a:p>
        </p:txBody>
      </p:sp>
      <p:pic>
        <p:nvPicPr>
          <p:cNvPr id="16" name="Afbeelding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303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221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51125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5148464" y="1268760"/>
            <a:ext cx="3600000" cy="5112568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14,2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138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 +  2 x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8856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</a:t>
            </a:r>
            <a:r>
              <a:rPr lang="en-GB" noProof="0" dirty="0" smtClean="0"/>
              <a:t>to</a:t>
            </a:r>
            <a:r>
              <a:rPr lang="en-GB" dirty="0" smtClean="0"/>
              <a:t> </a:t>
            </a:r>
            <a:r>
              <a:rPr lang="en-GB" noProof="0" dirty="0" smtClean="0"/>
              <a:t>add</a:t>
            </a:r>
            <a:r>
              <a:rPr lang="en-GB" dirty="0" smtClean="0"/>
              <a:t>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5151490" y="3429000"/>
            <a:ext cx="3596974" cy="27072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20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5151490" y="6021288"/>
            <a:ext cx="3596974" cy="28803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1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5" name="Tijdelijke aanduiding voor afbeelding 3"/>
          <p:cNvSpPr>
            <a:spLocks noGrp="1"/>
          </p:cNvSpPr>
          <p:nvPr>
            <p:ph type="pic" sz="quarter" idx="15" hasCustomPrompt="1"/>
          </p:nvPr>
        </p:nvSpPr>
        <p:spPr>
          <a:xfrm>
            <a:off x="5148464" y="1268760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6" name="Afbeelding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402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 + 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526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8352928" cy="117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2601328"/>
            <a:ext cx="8352928" cy="37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2601328"/>
            <a:ext cx="8352928" cy="37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23,2 x 10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483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96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0150" y="5877272"/>
            <a:ext cx="8424936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8760"/>
            <a:ext cx="8352928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8760"/>
            <a:ext cx="8352928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23,2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3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2 x Text + Images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825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3999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408782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6" name="Rechthoek 2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8" name="Rechte verbindingslijn 2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408782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05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 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842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3251" y="5877272"/>
            <a:ext cx="3960000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5866470"/>
            <a:ext cx="3960000" cy="51485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976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2" name="Afbeelding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961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2 x text +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617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95536" y="3861328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5155579" y="1268760"/>
            <a:ext cx="3592885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1" name="Afbeelding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110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37405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8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27C83-F25A-433E-9E95-FC29404527FF}" type="datetimeFigureOut">
              <a:rPr lang="en-GB" smtClean="0"/>
              <a:pPr/>
              <a:t>20/06/2016</a:t>
            </a:fld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EBF997-F99C-4450-B7BA-8F6443997B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9150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660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654" r:id="rId13"/>
    <p:sldLayoutId id="2147483793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357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/>
          </p:nvPr>
        </p:nvSpPr>
        <p:spPr/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746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Gray</a:t>
            </a:r>
            <a:r>
              <a:rPr lang="en-GB" dirty="0" smtClean="0"/>
              <a:t> scale linear ramp no clips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0" y="805780"/>
            <a:ext cx="9174932" cy="516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088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scale linear ramp </a:t>
            </a:r>
            <a:r>
              <a:rPr lang="en-GB" dirty="0" smtClean="0"/>
              <a:t>clip 5%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16" y="836712"/>
            <a:ext cx="9089010" cy="5112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37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scale linear ramp </a:t>
            </a:r>
            <a:r>
              <a:rPr lang="en-GB" dirty="0" smtClean="0"/>
              <a:t>clips 5% + Inverted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36712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147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scale </a:t>
            </a:r>
            <a:r>
              <a:rPr lang="en-GB" dirty="0" smtClean="0"/>
              <a:t>logarithmic ramp </a:t>
            </a:r>
            <a:r>
              <a:rPr lang="en-GB" dirty="0"/>
              <a:t>clips </a:t>
            </a:r>
            <a:r>
              <a:rPr lang="en-GB" dirty="0" smtClean="0"/>
              <a:t>0% </a:t>
            </a:r>
            <a:r>
              <a:rPr lang="en-GB" dirty="0"/>
              <a:t>+ Inverted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23401"/>
            <a:ext cx="9112674" cy="5125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28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ray</a:t>
            </a:r>
            <a:r>
              <a:rPr lang="en-GB" dirty="0"/>
              <a:t> </a:t>
            </a:r>
            <a:r>
              <a:rPr lang="en-GB" dirty="0" smtClean="0"/>
              <a:t>scale logarithmic ramp </a:t>
            </a:r>
            <a:r>
              <a:rPr lang="en-GB" dirty="0"/>
              <a:t>clips 5</a:t>
            </a:r>
            <a:r>
              <a:rPr lang="en-GB" dirty="0" smtClean="0"/>
              <a:t>% + Inverted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547" y="836712"/>
            <a:ext cx="9147548" cy="5145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847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9400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9130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06269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46316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00188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Yellow-Brown Logarithmic 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087" y="1404606"/>
            <a:ext cx="7487816" cy="4211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1927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51024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44178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2779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Yellow-Brown 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139" y="1275454"/>
            <a:ext cx="8028384" cy="451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4549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cover Greysca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252" y="836713"/>
            <a:ext cx="8960996" cy="5040560"/>
          </a:xfrm>
          <a:prstGeom prst="rect">
            <a:avLst/>
          </a:prstGeom>
        </p:spPr>
      </p:pic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31373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SIRO Greyscal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5248" y="908720"/>
            <a:ext cx="9089009" cy="5112568"/>
          </a:xfrm>
          <a:prstGeom prst="rect">
            <a:avLst/>
          </a:prstGeom>
        </p:spPr>
      </p:pic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00380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SonarBeamCorrection</a:t>
            </a:r>
            <a:r>
              <a:rPr lang="en-GB" dirty="0" smtClean="0"/>
              <a:t> </a:t>
            </a:r>
            <a:r>
              <a:rPr lang="en-GB" dirty="0" err="1" smtClean="0"/>
              <a:t>Gryscale</a:t>
            </a:r>
            <a:r>
              <a:rPr lang="en-GB" dirty="0" smtClean="0"/>
              <a:t> Logarithmic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64704"/>
            <a:ext cx="9813957" cy="4924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4764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38417" y="1379656"/>
            <a:ext cx="7402197" cy="371461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9872" y="1086830"/>
            <a:ext cx="7487816" cy="5438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8523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cover Greysca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16472"/>
            <a:ext cx="9025464" cy="507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048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5/250 vs 0/255 grey scal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61" y="836712"/>
            <a:ext cx="9144000" cy="4572000"/>
          </a:xfrm>
          <a:prstGeom prst="rect">
            <a:avLst/>
          </a:prstGeom>
        </p:spPr>
      </p:pic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9564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0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4&quot;&gt;&lt;elem m_fUsage=&quot;3.43900000000000010000E+000&quot;&gt;&lt;m_msothmcolidx val=&quot;0&quot;/&gt;&lt;m_rgb r=&quot;43&quot; g=&quot;7c&quot; b=&quot;92&quot;/&gt;&lt;m_ppcolschidx tagver0=&quot;23004&quot; tagname0=&quot;m_ppcolschidxUNRECOGNIZED&quot; val=&quot;0&quot;/&gt;&lt;m_nBrightness val=&quot;0&quot;/&gt;&lt;/elem&gt;&lt;elem m_fUsage=&quot;1.77803100000000010000E+000&quot;&gt;&lt;m_msothmcolidx val=&quot;0&quot;/&gt;&lt;m_rgb r=&quot;da&quot; g=&quot;be&quot; b=&quot;86&quot;/&gt;&lt;m_ppcolschidx tagver0=&quot;23004&quot; tagname0=&quot;m_ppcolschidxUNRECOGNIZED&quot; val=&quot;0&quot;/&gt;&lt;m_nBrightness val=&quot;0&quot;/&gt;&lt;/elem&gt;&lt;elem m_fUsage=&quot;1.29618459900000030000E+000&quot;&gt;&lt;m_msothmcolidx val=&quot;0&quot;/&gt;&lt;m_rgb r=&quot;dd&quot; g=&quot;e2&quot; b=&quot;e7&quot;/&gt;&lt;m_ppcolschidx tagver0=&quot;23004&quot; tagname0=&quot;m_ppcolschidxUNRECOGNIZED&quot; val=&quot;0&quot;/&gt;&lt;m_nBrightness val=&quot;0&quot;/&gt;&lt;/elem&gt;&lt;elem m_fUsage=&quot;6.62489036190000100000E-001&quot;&gt;&lt;m_msothmcolidx val=&quot;0&quot;/&gt;&lt;m_rgb r=&quot;ce&quot; g=&quot;0&quot; b=&quot;0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UGRO DEF">
      <a:dk1>
        <a:sysClr val="windowText" lastClr="000000"/>
      </a:dk1>
      <a:lt1>
        <a:sysClr val="window" lastClr="FFFFFF"/>
      </a:lt1>
      <a:dk2>
        <a:srgbClr val="3C6C82"/>
      </a:dk2>
      <a:lt2>
        <a:srgbClr val="FFFFFF"/>
      </a:lt2>
      <a:accent1>
        <a:srgbClr val="3FA0D4"/>
      </a:accent1>
      <a:accent2>
        <a:srgbClr val="47994B"/>
      </a:accent2>
      <a:accent3>
        <a:srgbClr val="88BA14"/>
      </a:accent3>
      <a:accent4>
        <a:srgbClr val="437C92"/>
      </a:accent4>
      <a:accent5>
        <a:srgbClr val="0AABA4"/>
      </a:accent5>
      <a:accent6>
        <a:srgbClr val="DABE86"/>
      </a:accent6>
      <a:hlink>
        <a:srgbClr val="3FA0D4"/>
      </a:hlink>
      <a:folHlink>
        <a:srgbClr val="437C92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-powerpoint-templates-regular.potx" id="{F8B8C427-2762-4C95-8DD1-CEAE5D497527}" vid="{2F175E2C-BB19-49F9-8C64-DB2DE45D6E80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37</TotalTime>
  <Words>89</Words>
  <Application>Microsoft Office PowerPoint</Application>
  <PresentationFormat>On-screen Show (4:3)</PresentationFormat>
  <Paragraphs>42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6" baseType="lpstr">
      <vt:lpstr>Arial</vt:lpstr>
      <vt:lpstr>Calibri</vt:lpstr>
      <vt:lpstr>Blank</vt:lpstr>
      <vt:lpstr>think-cell Slide</vt:lpstr>
      <vt:lpstr>PowerPoint Presentation</vt:lpstr>
      <vt:lpstr>Yellow-Brown Logarithmic scale</vt:lpstr>
      <vt:lpstr>Yellow-Brown scale</vt:lpstr>
      <vt:lpstr>Discover Greyscale</vt:lpstr>
      <vt:lpstr>CSIRO Greyscale</vt:lpstr>
      <vt:lpstr>SonarBeamCorrection Gryscale Logarithmic</vt:lpstr>
      <vt:lpstr>scale</vt:lpstr>
      <vt:lpstr>Discover Greyscale</vt:lpstr>
      <vt:lpstr>5/250 vs 0/255 grey scale</vt:lpstr>
      <vt:lpstr>Gray scale linear ramp no clips</vt:lpstr>
      <vt:lpstr>Gray scale linear ramp clip 5%</vt:lpstr>
      <vt:lpstr>Gray scale linear ramp clips 5% + Inverted</vt:lpstr>
      <vt:lpstr>Gray scale logarithmic ramp clips 0% + Inverted</vt:lpstr>
      <vt:lpstr>Gray scale logarithmic ramp clips 5% + Inverted</vt:lpstr>
      <vt:lpstr>scale</vt:lpstr>
      <vt:lpstr>scale</vt:lpstr>
      <vt:lpstr>scale</vt:lpstr>
      <vt:lpstr>scale</vt:lpstr>
      <vt:lpstr>scale</vt:lpstr>
      <vt:lpstr>scale</vt:lpstr>
      <vt:lpstr>scale</vt:lpstr>
      <vt:lpstr>PowerPoint Presentation</vt:lpstr>
    </vt:vector>
  </TitlesOfParts>
  <Company>Fugro Survey Pty Lt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nnedy, Paul</dc:creator>
  <cp:lastModifiedBy>Kennedy, Paul</cp:lastModifiedBy>
  <cp:revision>15</cp:revision>
  <cp:lastPrinted>2014-07-03T06:58:13Z</cp:lastPrinted>
  <dcterms:created xsi:type="dcterms:W3CDTF">2016-06-19T03:12:04Z</dcterms:created>
  <dcterms:modified xsi:type="dcterms:W3CDTF">2016-06-20T13:11:48Z</dcterms:modified>
</cp:coreProperties>
</file>